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9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1B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7963337-9971-4DC6-918C-1D724AD4A1F8}" v="40" dt="2024-11-20T11:37:29.8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AA7CA-9F2B-4A2B-B6C0-866CE5D42B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86D10BD-AFD2-440A-9742-76A49985BF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0E28E9-29E1-4E11-8329-2D4E35A16B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CCF7B-A042-4198-BBFA-ED4D5629F5F4}" type="datetimeFigureOut">
              <a:rPr lang="en-US" smtClean="0"/>
              <a:t>4/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79A60-342C-4E16-BFE5-043C247348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9D3617-D6B5-4533-AC69-2464F06D51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D4021-6374-49C0-A27A-2A39498831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80330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DEE7A9-2B2A-4950-8130-81FF993FC0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31DECF2-9590-43A4-B6CC-8F78971DA6E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E41E21-D4E5-43D6-8D05-32964824E0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CCF7B-A042-4198-BBFA-ED4D5629F5F4}" type="datetimeFigureOut">
              <a:rPr lang="en-US" smtClean="0"/>
              <a:t>4/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94E23C-A37F-4A59-92CC-E6BFD3B87F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65B5C7-BFA5-45AF-B4AA-8018EA22B1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D4021-6374-49C0-A27A-2A39498831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38550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BE2F593-DE23-43E2-BE33-E331DF3387F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931E6C9-7E28-4AD9-8EB4-A0AE8175ABF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E23260-A53A-4453-AB5A-4510F2443E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CCF7B-A042-4198-BBFA-ED4D5629F5F4}" type="datetimeFigureOut">
              <a:rPr lang="en-US" smtClean="0"/>
              <a:t>4/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FABAF-F0F7-40A9-9D4C-E2354D305B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861560-75E2-468B-BFA2-164177DDFB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D4021-6374-49C0-A27A-2A39498831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65766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6E0048-57C0-44D3-92DF-D8E88D9850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B18033-E41F-45D7-AE39-23CD3D4B86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017E1B-85A8-458E-BE16-5893E28C0A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CCF7B-A042-4198-BBFA-ED4D5629F5F4}" type="datetimeFigureOut">
              <a:rPr lang="en-US" smtClean="0"/>
              <a:t>4/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F81C85-CC1B-4FD1-8836-98E65F256B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538F55-8D93-415B-B22A-E0FB5F468D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D4021-6374-49C0-A27A-2A39498831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7940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ED8170-AE6E-4F2A-B322-8357CFC7EE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74CEF8-9E80-4AF7-B5C6-9B2F1F9479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E3F747-38BF-4005-9990-9B54A99549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CCF7B-A042-4198-BBFA-ED4D5629F5F4}" type="datetimeFigureOut">
              <a:rPr lang="en-US" smtClean="0"/>
              <a:t>4/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54208D-C672-43C1-8B0A-6F4D4087F5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12FD80-ABCB-4ED1-86AB-CC438A8DFF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D4021-6374-49C0-A27A-2A39498831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3573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4CE72B-CA3A-4794-BFFC-14ABBE0527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53D8AD-9D22-4B22-A97B-7D6396F0BCE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9B9D26D-04CD-4124-8A42-66045A3687B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B6D61C-A249-49BE-B41F-58F73A3ADE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CCF7B-A042-4198-BBFA-ED4D5629F5F4}" type="datetimeFigureOut">
              <a:rPr lang="en-US" smtClean="0"/>
              <a:t>4/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AB76A1-FEF4-4966-89C1-9CF2DAE49D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7265E8-8D5C-45CA-B77B-1E8B8CE91B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D4021-6374-49C0-A27A-2A39498831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278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9C5109-516D-4E7E-B046-7711712A6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D73975-82BA-4534-9597-7616C52893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C3015B-25C2-4ECB-94A2-CCACB8812C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D5982E4-D856-4F6C-A5ED-E1260E3EEB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0E67C27-715B-499E-9656-8DFF1928ED1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06F4245-A621-42DD-BB2B-DF6438991C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CCF7B-A042-4198-BBFA-ED4D5629F5F4}" type="datetimeFigureOut">
              <a:rPr lang="en-US" smtClean="0"/>
              <a:t>4/3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609AFFD-F0E2-4F2F-8209-18E3CE03EA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8B2C1F5-FFFE-4CBC-9BEB-1DA439D1B8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D4021-6374-49C0-A27A-2A39498831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87996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12B02F-4117-4EDC-9E58-692DEAABA9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E69EFF5-5FF3-442E-BA5B-0D3182B5BB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CCF7B-A042-4198-BBFA-ED4D5629F5F4}" type="datetimeFigureOut">
              <a:rPr lang="en-US" smtClean="0"/>
              <a:t>4/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AD2625-18F0-44B3-96B0-029CAA0D10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7290B1-8432-431C-AC96-FCA0F84021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D4021-6374-49C0-A27A-2A39498831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1799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FD7746B-CD64-42A9-B4B7-6EDEB639BA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CCF7B-A042-4198-BBFA-ED4D5629F5F4}" type="datetimeFigureOut">
              <a:rPr lang="en-US" smtClean="0"/>
              <a:t>4/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6AA6A0-2B24-430A-9076-CB0BA283A8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50C1BB-94B7-4991-9CB1-6FC46518B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D4021-6374-49C0-A27A-2A39498831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8571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7550CE-3C97-4AA8-841F-264B5D401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543596-26DB-4326-8E87-104233C694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F69271-277F-48DA-B64F-63E7BB6EBB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A7958F-9408-4EF3-BA2D-5CE8B79AD8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CCF7B-A042-4198-BBFA-ED4D5629F5F4}" type="datetimeFigureOut">
              <a:rPr lang="en-US" smtClean="0"/>
              <a:t>4/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0F6976-BACB-4375-B096-5B2B9511E0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E5BBDE-BB79-4CA7-9C2B-0BE80473A3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D4021-6374-49C0-A27A-2A39498831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7054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DE4DDF-8355-4DFF-8521-B7B6566670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87BEA62-2BD4-407E-9230-1F5C3374E10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B4BFFA-6EE2-4CEB-8A26-D5ABCE181A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48B9191-F1BC-4BA2-A9E4-0F46A2027C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CCF7B-A042-4198-BBFA-ED4D5629F5F4}" type="datetimeFigureOut">
              <a:rPr lang="en-US" smtClean="0"/>
              <a:t>4/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DF2B1E-BD98-43F7-8CD3-EBB8035A36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AC3F40-7D49-4373-B040-9AB09C4EDE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D4021-6374-49C0-A27A-2A39498831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3996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4337F7B-4654-4617-A1C4-2248DC5F5D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33470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4337F7B-4654-4617-A1C4-2248DC5F5D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5F31A8D-7783-48CB-B3EA-A86347BB63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CBAFA7-65A3-482A-9823-3D2D88FFEF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3BDC54-3565-42FA-A23A-F9F9D0C26B9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8CCF7B-A042-4198-BBFA-ED4D5629F5F4}" type="datetimeFigureOut">
              <a:rPr lang="en-US" smtClean="0"/>
              <a:t>4/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05EB4A-A926-43CB-8BD2-0875966A94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665A9D-52E2-4304-BD20-48F2039B57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8D4021-6374-49C0-A27A-2A3949883118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C63816D-A756-4081-EEAE-D8CABB52BD4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xmlns="" val="ftr"/>
              </p:ext>
            </p:extLst>
          </p:nvPr>
        </p:nvSpPr>
        <p:spPr>
          <a:xfrm>
            <a:off x="63500" y="6642100"/>
            <a:ext cx="882714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assified_Public</a:t>
            </a:r>
          </a:p>
        </p:txBody>
      </p:sp>
    </p:spTree>
    <p:extLst>
      <p:ext uri="{BB962C8B-B14F-4D97-AF65-F5344CB8AC3E}">
        <p14:creationId xmlns:p14="http://schemas.microsoft.com/office/powerpoint/2010/main" val="4099878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.xml"/><Relationship Id="rId7" Type="http://schemas.openxmlformats.org/officeDocument/2006/relationships/hyperlink" Target="https://en.wikipedia.org/wiki/QR_code" TargetMode="Externa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EA3211-49C5-4DFD-866D-246290AF6B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5EA3211-49C5-4DFD-866D-246290AF6B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E31B5B00-6B32-46F5-8160-5BE127F868BA}"/>
              </a:ext>
            </a:extLst>
          </p:cNvPr>
          <p:cNvSpPr txBox="1"/>
          <p:nvPr/>
        </p:nvSpPr>
        <p:spPr>
          <a:xfrm>
            <a:off x="205406" y="176105"/>
            <a:ext cx="2298803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State of Qata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1EB965C-7AC6-4FC0-A125-179311AA8AF0}"/>
              </a:ext>
            </a:extLst>
          </p:cNvPr>
          <p:cNvSpPr txBox="1"/>
          <p:nvPr/>
        </p:nvSpPr>
        <p:spPr>
          <a:xfrm>
            <a:off x="7835317" y="125843"/>
            <a:ext cx="4118395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ar-OM" b="1" dirty="0"/>
              <a:t>دولة قطر</a:t>
            </a:r>
            <a:endParaRPr lang="en-US" b="1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3B5C7EC-B4E7-429F-AA2C-B86153B73798}"/>
              </a:ext>
            </a:extLst>
          </p:cNvPr>
          <p:cNvSpPr txBox="1"/>
          <p:nvPr/>
        </p:nvSpPr>
        <p:spPr>
          <a:xfrm>
            <a:off x="7835317" y="922634"/>
            <a:ext cx="4115429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rtl="1"/>
            <a:r>
              <a:rPr lang="ar-SA" b="1" dirty="0"/>
              <a:t>ادارة تراخيص النقل البري</a:t>
            </a:r>
            <a:endParaRPr lang="en-US" b="1" dirty="0"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2BF327D-8E61-4690-9E70-5E112F688EB0}"/>
              </a:ext>
            </a:extLst>
          </p:cNvPr>
          <p:cNvSpPr txBox="1"/>
          <p:nvPr/>
        </p:nvSpPr>
        <p:spPr>
          <a:xfrm>
            <a:off x="205408" y="1617905"/>
            <a:ext cx="11745341" cy="307777"/>
          </a:xfrm>
          <a:prstGeom prst="rect">
            <a:avLst/>
          </a:prstGeom>
          <a:solidFill>
            <a:srgbClr val="8D1B3D"/>
          </a:solidFill>
        </p:spPr>
        <p:txBody>
          <a:bodyPr wrap="square" rtlCol="0" anchor="ctr">
            <a:noAutofit/>
          </a:bodyPr>
          <a:lstStyle/>
          <a:p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CA7F84C-A75A-4091-8F7B-0730E4D91404}"/>
              </a:ext>
            </a:extLst>
          </p:cNvPr>
          <p:cNvSpPr txBox="1"/>
          <p:nvPr/>
        </p:nvSpPr>
        <p:spPr>
          <a:xfrm>
            <a:off x="8972667" y="1625959"/>
            <a:ext cx="29552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SA" sz="1400" b="1" dirty="0">
                <a:solidFill>
                  <a:schemeClr val="bg1"/>
                </a:solidFill>
                <a:latin typeface="Arial" panose="020B0604020202020204" pitchFamily="34" charset="0"/>
              </a:rPr>
              <a:t>رقم رخصة النقل البري</a:t>
            </a:r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73CF455-FC74-448A-9F1C-50AFBDF158AB}"/>
              </a:ext>
            </a:extLst>
          </p:cNvPr>
          <p:cNvSpPr txBox="1"/>
          <p:nvPr/>
        </p:nvSpPr>
        <p:spPr>
          <a:xfrm>
            <a:off x="4946598" y="1595181"/>
            <a:ext cx="2298803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/>
              <a:t>License_number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3424701-95E1-4A16-A621-AF930EC66181}"/>
              </a:ext>
            </a:extLst>
          </p:cNvPr>
          <p:cNvSpPr txBox="1"/>
          <p:nvPr/>
        </p:nvSpPr>
        <p:spPr>
          <a:xfrm>
            <a:off x="205408" y="970451"/>
            <a:ext cx="373048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Land Transport Licensing Department</a:t>
            </a:r>
          </a:p>
        </p:txBody>
      </p:sp>
      <p:graphicFrame>
        <p:nvGraphicFramePr>
          <p:cNvPr id="24" name="Table 20">
            <a:extLst>
              <a:ext uri="{FF2B5EF4-FFF2-40B4-BE49-F238E27FC236}">
                <a16:creationId xmlns:a16="http://schemas.microsoft.com/office/drawing/2014/main" id="{19303B96-C4B7-4B31-9351-3B2037C486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5185360"/>
              </p:ext>
            </p:extLst>
          </p:nvPr>
        </p:nvGraphicFramePr>
        <p:xfrm>
          <a:off x="205407" y="4824709"/>
          <a:ext cx="11745339" cy="1072715"/>
        </p:xfrm>
        <a:graphic>
          <a:graphicData uri="http://schemas.openxmlformats.org/drawingml/2006/table">
            <a:tbl>
              <a:tblPr firstRow="1" bandRow="1"/>
              <a:tblGrid>
                <a:gridCol w="11745339">
                  <a:extLst>
                    <a:ext uri="{9D8B030D-6E8A-4147-A177-3AD203B41FA5}">
                      <a16:colId xmlns:a16="http://schemas.microsoft.com/office/drawing/2014/main" val="1507211274"/>
                    </a:ext>
                  </a:extLst>
                </a:gridCol>
              </a:tblGrid>
              <a:tr h="272730">
                <a:tc>
                  <a:txBody>
                    <a:bodyPr/>
                    <a:lstStyle/>
                    <a:p>
                      <a:pPr marL="0" algn="ctr" defTabSz="914400" rtl="1" eaLnBrk="1" latinLnBrk="0" hangingPunct="1"/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ar-SA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أنشطة الترخيص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cense activities / 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673422"/>
                  </a:ext>
                </a:extLst>
              </a:tr>
              <a:tr h="799985">
                <a:tc>
                  <a:txBody>
                    <a:bodyPr/>
                    <a:lstStyle/>
                    <a:p>
                      <a:pPr algn="r" rtl="1"/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y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45144847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7D483E27-106D-451F-A006-67888543E07B}"/>
              </a:ext>
            </a:extLst>
          </p:cNvPr>
          <p:cNvSpPr txBox="1"/>
          <p:nvPr/>
        </p:nvSpPr>
        <p:spPr>
          <a:xfrm>
            <a:off x="205407" y="5869863"/>
            <a:ext cx="10834067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   Website: www.mot.gov.qa</a:t>
            </a:r>
            <a:r>
              <a:rPr lang="ar-SA" sz="1400" b="1" dirty="0">
                <a:latin typeface="Arial" panose="020B0604020202020204" pitchFamily="34" charset="0"/>
                <a:cs typeface="Arial" panose="020B0604020202020204" pitchFamily="34" charset="0"/>
              </a:rPr>
              <a:t>ال</a:t>
            </a:r>
            <a:r>
              <a:rPr lang="ar-SA" sz="1400" b="1" dirty="0">
                <a:latin typeface="Arial" panose="020B0604020202020204" pitchFamily="34" charset="0"/>
              </a:rPr>
              <a:t>موقع الإلكتروني: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Call Center:</a:t>
            </a:r>
            <a:r>
              <a:rPr lang="ar-SA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 +974 40451111</a:t>
            </a:r>
            <a:r>
              <a:rPr lang="ar-SA" sz="1400" b="1" dirty="0">
                <a:latin typeface="Arial" panose="020B0604020202020204" pitchFamily="34" charset="0"/>
              </a:rPr>
              <a:t>مركز الاتصال:  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7" name="Picture 26" descr="A picture containing shape&#10;&#10;Description automatically generated">
            <a:extLst>
              <a:ext uri="{FF2B5EF4-FFF2-40B4-BE49-F238E27FC236}">
                <a16:creationId xmlns:a16="http://schemas.microsoft.com/office/drawing/2014/main" id="{F7C73CA9-B8A2-4AF6-B8E6-E5B3DE92860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837473B0-CC2E-450A-ABE3-18F120FF3D39}">
                <a1611:picAttrSrcUrl xmlns:a1611="http://schemas.microsoft.com/office/drawing/2016/11/main" xmlns="" r:id="rId7"/>
              </a:ext>
            </a:extLst>
          </a:blip>
          <a:srcRect l="9392" t="9043" r="9312" b="9269"/>
          <a:stretch/>
        </p:blipFill>
        <p:spPr>
          <a:xfrm>
            <a:off x="11154709" y="5981205"/>
            <a:ext cx="624588" cy="62759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9AC794D-51A9-4123-F121-0878547156C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0652" y="-184591"/>
            <a:ext cx="7884542" cy="160147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AE22F8C-27A0-FE7A-8B09-7211A733E8E0}"/>
              </a:ext>
            </a:extLst>
          </p:cNvPr>
          <p:cNvSpPr txBox="1"/>
          <p:nvPr/>
        </p:nvSpPr>
        <p:spPr>
          <a:xfrm>
            <a:off x="127701" y="490176"/>
            <a:ext cx="24542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Ministry of Transpor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040BF31-5208-67F7-653B-F507FC0A5FC4}"/>
              </a:ext>
            </a:extLst>
          </p:cNvPr>
          <p:cNvSpPr txBox="1"/>
          <p:nvPr/>
        </p:nvSpPr>
        <p:spPr>
          <a:xfrm>
            <a:off x="8296712" y="461597"/>
            <a:ext cx="37951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QA" b="1" dirty="0"/>
              <a:t>وزارة المواصلات</a:t>
            </a:r>
            <a:endParaRPr lang="en-US" b="1" dirty="0"/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42E4D7F1-E476-0C5F-BD0B-9CF457458A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4795367"/>
              </p:ext>
            </p:extLst>
          </p:nvPr>
        </p:nvGraphicFramePr>
        <p:xfrm>
          <a:off x="228250" y="1262044"/>
          <a:ext cx="1169965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99650">
                  <a:extLst>
                    <a:ext uri="{9D8B030D-6E8A-4147-A177-3AD203B41FA5}">
                      <a16:colId xmlns:a16="http://schemas.microsoft.com/office/drawing/2014/main" val="10838696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ar-QA" dirty="0">
                          <a:solidFill>
                            <a:schemeClr val="tx1"/>
                          </a:solidFill>
                        </a:rPr>
                        <a:t>رخصة مزاولة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ar-QA" dirty="0">
                          <a:solidFill>
                            <a:schemeClr val="tx1"/>
                          </a:solidFill>
                        </a:rPr>
                        <a:t>نشاط 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/ </a:t>
                      </a:r>
                      <a:r>
                        <a:rPr lang="ar-QA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Business Licenses Activit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949118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6513FBCD-05EA-337A-7BD3-CDDCCCA4AB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3932973"/>
              </p:ext>
            </p:extLst>
          </p:nvPr>
        </p:nvGraphicFramePr>
        <p:xfrm>
          <a:off x="205404" y="1953616"/>
          <a:ext cx="11722495" cy="184401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22136">
                  <a:extLst>
                    <a:ext uri="{9D8B030D-6E8A-4147-A177-3AD203B41FA5}">
                      <a16:colId xmlns:a16="http://schemas.microsoft.com/office/drawing/2014/main" val="589063492"/>
                    </a:ext>
                  </a:extLst>
                </a:gridCol>
                <a:gridCol w="6862578">
                  <a:extLst>
                    <a:ext uri="{9D8B030D-6E8A-4147-A177-3AD203B41FA5}">
                      <a16:colId xmlns:a16="http://schemas.microsoft.com/office/drawing/2014/main" val="550023942"/>
                    </a:ext>
                  </a:extLst>
                </a:gridCol>
                <a:gridCol w="2537781">
                  <a:extLst>
                    <a:ext uri="{9D8B030D-6E8A-4147-A177-3AD203B41FA5}">
                      <a16:colId xmlns:a16="http://schemas.microsoft.com/office/drawing/2014/main" val="1910012722"/>
                    </a:ext>
                  </a:extLst>
                </a:gridCol>
              </a:tblGrid>
              <a:tr h="263430">
                <a:tc>
                  <a:txBody>
                    <a:bodyPr/>
                    <a:lstStyle/>
                    <a:p>
                      <a:pPr algn="l" rtl="0">
                        <a:lnSpc>
                          <a:spcPct val="107000"/>
                        </a:lnSpc>
                      </a:pPr>
                      <a:r>
                        <a:rPr lang="en-US" sz="1100" b="1" kern="100" dirty="0">
                          <a:effectLst/>
                          <a:latin typeface="Aptos" panose="020B0004020202020204" pitchFamily="34" charset="0"/>
                        </a:rPr>
                        <a:t>Commercial registration number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>
                        <a:lnSpc>
                          <a:spcPct val="107000"/>
                        </a:lnSpc>
                      </a:pPr>
                      <a:r>
                        <a:rPr lang="en-US" sz="1100" dirty="0" err="1" smtClean="0">
                          <a:effectLst/>
                        </a:rPr>
                        <a:t>Register_number</a:t>
                      </a:r>
                      <a:endParaRPr lang="en-US" sz="1100" b="1" kern="100" dirty="0">
                        <a:effectLst/>
                        <a:latin typeface="Aptos" panose="020B00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ar-SA" sz="1100" b="1" kern="100" dirty="0">
                          <a:effectLst/>
                        </a:rPr>
                        <a:t>رقم السجل التجاري:</a:t>
                      </a:r>
                      <a:endParaRPr lang="en-US" sz="1100" b="1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36177538"/>
                  </a:ext>
                </a:extLst>
              </a:tr>
              <a:tr h="263430">
                <a:tc>
                  <a:txBody>
                    <a:bodyPr/>
                    <a:lstStyle/>
                    <a:p>
                      <a:pPr algn="l" rtl="0">
                        <a:lnSpc>
                          <a:spcPct val="107000"/>
                        </a:lnSpc>
                      </a:pPr>
                      <a:r>
                        <a:rPr lang="en-US" sz="1100" b="1" kern="100" dirty="0">
                          <a:effectLst/>
                          <a:latin typeface="Aptos" panose="020B0004020202020204" pitchFamily="34" charset="0"/>
                        </a:rPr>
                        <a:t>Organization name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100" dirty="0" err="1" smtClean="0">
                          <a:effectLst/>
                        </a:rPr>
                        <a:t>Establishment_name</a:t>
                      </a:r>
                      <a:endParaRPr lang="en-US" sz="1100" b="1" kern="100" dirty="0">
                        <a:effectLst/>
                        <a:latin typeface="Aptos" panose="020B00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ar-SA" sz="1100" b="1" kern="100" dirty="0">
                          <a:effectLst/>
                        </a:rPr>
                        <a:t>اسم ال</a:t>
                      </a:r>
                      <a:r>
                        <a:rPr lang="ar-QA" sz="1100" b="1" kern="100" dirty="0">
                          <a:effectLst/>
                        </a:rPr>
                        <a:t>شركة</a:t>
                      </a:r>
                      <a:r>
                        <a:rPr lang="ar-SA" sz="1100" b="1" kern="100" dirty="0">
                          <a:effectLst/>
                        </a:rPr>
                        <a:t>:</a:t>
                      </a:r>
                      <a:endParaRPr lang="en-US" sz="1100" b="1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98639394"/>
                  </a:ext>
                </a:extLst>
              </a:tr>
              <a:tr h="263430">
                <a:tc>
                  <a:txBody>
                    <a:bodyPr/>
                    <a:lstStyle/>
                    <a:p>
                      <a:pPr algn="l" rtl="0">
                        <a:lnSpc>
                          <a:spcPct val="107000"/>
                        </a:lnSpc>
                      </a:pPr>
                      <a:r>
                        <a:rPr lang="en-US" sz="1100" b="1" kern="100" dirty="0">
                          <a:effectLst/>
                          <a:latin typeface="Aptos" panose="020B0004020202020204" pitchFamily="34" charset="0"/>
                        </a:rPr>
                        <a:t>Authorized manager name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100" dirty="0" err="1" smtClean="0">
                          <a:effectLst/>
                        </a:rPr>
                        <a:t>Owner_name</a:t>
                      </a:r>
                      <a:endParaRPr lang="en-US" sz="1100" b="1" kern="100" dirty="0">
                        <a:effectLst/>
                        <a:latin typeface="Aptos" panose="020B00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ar-SA" sz="1100" b="1" kern="100" dirty="0">
                          <a:effectLst/>
                        </a:rPr>
                        <a:t>اسم الم</a:t>
                      </a:r>
                      <a:r>
                        <a:rPr lang="ar-QA" sz="1100" b="1" kern="100" dirty="0">
                          <a:effectLst/>
                        </a:rPr>
                        <a:t>دير المسؤول</a:t>
                      </a:r>
                      <a:r>
                        <a:rPr lang="ar-SA" sz="1100" b="1" kern="100" dirty="0">
                          <a:effectLst/>
                        </a:rPr>
                        <a:t>:</a:t>
                      </a:r>
                      <a:endParaRPr lang="en-US" sz="1100" b="1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51757043"/>
                  </a:ext>
                </a:extLst>
              </a:tr>
              <a:tr h="263430">
                <a:tc>
                  <a:txBody>
                    <a:bodyPr/>
                    <a:lstStyle/>
                    <a:p>
                      <a:pPr algn="l" rtl="0">
                        <a:lnSpc>
                          <a:spcPct val="107000"/>
                        </a:lnSpc>
                      </a:pPr>
                      <a:r>
                        <a:rPr lang="en-US" sz="1100" b="1" kern="100" dirty="0">
                          <a:effectLst/>
                          <a:latin typeface="Aptos" panose="020B0004020202020204" pitchFamily="34" charset="0"/>
                        </a:rPr>
                        <a:t>QID number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100" smtClean="0">
                          <a:effectLst/>
                        </a:rPr>
                        <a:t>Id_number</a:t>
                      </a:r>
                      <a:endParaRPr lang="en-US" sz="1100" b="1" kern="100" dirty="0">
                        <a:effectLst/>
                        <a:latin typeface="Aptos" panose="020B00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ar-SA" sz="1100" b="1" kern="100" dirty="0">
                          <a:effectLst/>
                        </a:rPr>
                        <a:t>رقم البطاقة الشخصية:</a:t>
                      </a:r>
                      <a:endParaRPr lang="en-US" sz="1100" b="1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75714932"/>
                  </a:ext>
                </a:extLst>
              </a:tr>
              <a:tr h="263430">
                <a:tc>
                  <a:txBody>
                    <a:bodyPr/>
                    <a:lstStyle/>
                    <a:p>
                      <a:pPr algn="l" rtl="0">
                        <a:lnSpc>
                          <a:spcPct val="107000"/>
                        </a:lnSpc>
                      </a:pPr>
                      <a:r>
                        <a:rPr lang="en-US" sz="1100" b="1" kern="100" dirty="0">
                          <a:effectLst/>
                          <a:latin typeface="Aptos" panose="020B0004020202020204" pitchFamily="34" charset="0"/>
                        </a:rPr>
                        <a:t>License category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1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cense_category</a:t>
                      </a:r>
                      <a:endParaRPr lang="en-US" sz="11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ar-SA" sz="1100" b="1" kern="100" dirty="0">
                          <a:effectLst/>
                        </a:rPr>
                        <a:t>فئة الترخيص:</a:t>
                      </a:r>
                      <a:endParaRPr lang="en-US" sz="1100" b="1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8699532"/>
                  </a:ext>
                </a:extLst>
              </a:tr>
              <a:tr h="263430">
                <a:tc>
                  <a:txBody>
                    <a:bodyPr/>
                    <a:lstStyle/>
                    <a:p>
                      <a:pPr algn="l" rtl="0">
                        <a:lnSpc>
                          <a:spcPct val="107000"/>
                        </a:lnSpc>
                      </a:pPr>
                      <a:r>
                        <a:rPr lang="en-US" sz="1100" b="1" kern="100" dirty="0">
                          <a:effectLst/>
                          <a:latin typeface="Aptos" panose="020B0004020202020204" pitchFamily="34" charset="0"/>
                        </a:rPr>
                        <a:t>Date of issue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1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ssue_date</a:t>
                      </a:r>
                      <a:endParaRPr lang="en-US" sz="11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ar-SA" sz="1100" b="1" kern="100" dirty="0">
                          <a:effectLst/>
                        </a:rPr>
                        <a:t>تاريخ الإصدار:</a:t>
                      </a:r>
                      <a:endParaRPr lang="en-US" sz="1100" b="1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84906136"/>
                  </a:ext>
                </a:extLst>
              </a:tr>
              <a:tr h="263430">
                <a:tc>
                  <a:txBody>
                    <a:bodyPr/>
                    <a:lstStyle/>
                    <a:p>
                      <a:pPr algn="l" rtl="0">
                        <a:lnSpc>
                          <a:spcPct val="107000"/>
                        </a:lnSpc>
                      </a:pPr>
                      <a:r>
                        <a:rPr lang="en-US" sz="1100" b="1" kern="100" dirty="0">
                          <a:effectLst/>
                          <a:latin typeface="Aptos" panose="020B0004020202020204" pitchFamily="34" charset="0"/>
                        </a:rPr>
                        <a:t>Date of expiry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1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pired_date</a:t>
                      </a:r>
                      <a:endParaRPr lang="en-US" sz="11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ar-SA" sz="1100" b="1" kern="100" dirty="0">
                          <a:effectLst/>
                        </a:rPr>
                        <a:t>تاريخ الانتهاء:</a:t>
                      </a:r>
                      <a:endParaRPr lang="en-US" sz="1100" b="1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85498074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2B195546-8A18-53EF-75F1-F03A197E93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4545270"/>
              </p:ext>
            </p:extLst>
          </p:nvPr>
        </p:nvGraphicFramePr>
        <p:xfrm>
          <a:off x="205405" y="3805682"/>
          <a:ext cx="11722495" cy="1019027"/>
        </p:xfrm>
        <a:graphic>
          <a:graphicData uri="http://schemas.openxmlformats.org/drawingml/2006/table">
            <a:tbl>
              <a:tblPr firstRow="1" bandRow="1"/>
              <a:tblGrid>
                <a:gridCol w="3848092">
                  <a:extLst>
                    <a:ext uri="{9D8B030D-6E8A-4147-A177-3AD203B41FA5}">
                      <a16:colId xmlns:a16="http://schemas.microsoft.com/office/drawing/2014/main" val="394403962"/>
                    </a:ext>
                  </a:extLst>
                </a:gridCol>
                <a:gridCol w="3881978">
                  <a:extLst>
                    <a:ext uri="{9D8B030D-6E8A-4147-A177-3AD203B41FA5}">
                      <a16:colId xmlns:a16="http://schemas.microsoft.com/office/drawing/2014/main" val="300066236"/>
                    </a:ext>
                  </a:extLst>
                </a:gridCol>
                <a:gridCol w="3992425">
                  <a:extLst>
                    <a:ext uri="{9D8B030D-6E8A-4147-A177-3AD203B41FA5}">
                      <a16:colId xmlns:a16="http://schemas.microsoft.com/office/drawing/2014/main" val="3793970363"/>
                    </a:ext>
                  </a:extLst>
                </a:gridCol>
              </a:tblGrid>
              <a:tr h="289474"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b="1" kern="100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ommercial address / </a:t>
                      </a:r>
                      <a:r>
                        <a:rPr lang="ar-SA" sz="1100" b="1" kern="100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العنوان التجاري</a:t>
                      </a:r>
                      <a:endParaRPr lang="en-US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9033549"/>
                  </a:ext>
                </a:extLst>
              </a:tr>
              <a:tr h="28947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b="1" kern="100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 Phone number / </a:t>
                      </a:r>
                      <a:r>
                        <a:rPr lang="ar-SA" sz="1100" b="1" kern="100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رقم الهاتف</a:t>
                      </a:r>
                      <a:r>
                        <a:rPr lang="en-US" sz="1100" b="1" kern="100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ar-SA" sz="1100" b="1" kern="100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البريد</a:t>
                      </a:r>
                      <a:r>
                        <a:rPr lang="ar-QA" sz="1100" b="1" kern="100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الالكتروني / </a:t>
                      </a:r>
                      <a:r>
                        <a:rPr lang="en-US" sz="1100" b="1" kern="100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Email address</a:t>
                      </a:r>
                      <a:endParaRPr lang="en-US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b="1" kern="100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Address </a:t>
                      </a:r>
                      <a:r>
                        <a:rPr lang="ar-QA" sz="1100" b="1" kern="100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العنوان/</a:t>
                      </a:r>
                      <a:endParaRPr lang="en-US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3931344"/>
                  </a:ext>
                </a:extLst>
              </a:tr>
              <a:tr h="44007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100" kern="100" dirty="0" err="1" smtClean="0">
                          <a:effectLst/>
                          <a:latin typeface="Aptos" panose="020B0004020202020204" pitchFamily="34" charset="0"/>
                        </a:rPr>
                        <a:t>Phone_number</a:t>
                      </a:r>
                      <a:endParaRPr lang="en-US" sz="1100" kern="100" dirty="0">
                        <a:effectLst/>
                        <a:latin typeface="Aptos" panose="020B00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100" kern="100" dirty="0" smtClean="0">
                          <a:effectLst/>
                          <a:latin typeface="Aptos" panose="020B0004020202020204" pitchFamily="34" charset="0"/>
                        </a:rPr>
                        <a:t>Email</a:t>
                      </a:r>
                      <a:endParaRPr lang="en-US" sz="1100" kern="100" dirty="0">
                        <a:effectLst/>
                        <a:latin typeface="Aptos" panose="020B00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100" kern="100" dirty="0" smtClean="0">
                          <a:effectLst/>
                          <a:latin typeface="Aptos" panose="020B0004020202020204" pitchFamily="34" charset="0"/>
                        </a:rPr>
                        <a:t>Address</a:t>
                      </a:r>
                      <a:endParaRPr lang="en-US" sz="1100" kern="100" dirty="0">
                        <a:effectLst/>
                        <a:latin typeface="Aptos" panose="020B00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8527342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6F622456-D5B5-E7FF-CC32-09655BD3668E}"/>
              </a:ext>
            </a:extLst>
          </p:cNvPr>
          <p:cNvSpPr txBox="1"/>
          <p:nvPr/>
        </p:nvSpPr>
        <p:spPr>
          <a:xfrm>
            <a:off x="182557" y="1684947"/>
            <a:ext cx="33078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d Transport License Number</a:t>
            </a:r>
          </a:p>
        </p:txBody>
      </p:sp>
    </p:spTree>
    <p:extLst>
      <p:ext uri="{BB962C8B-B14F-4D97-AF65-F5344CB8AC3E}">
        <p14:creationId xmlns:p14="http://schemas.microsoft.com/office/powerpoint/2010/main" val="29389077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89</TotalTime>
  <Words>137</Words>
  <Application>Microsoft Office PowerPoint</Application>
  <PresentationFormat>Widescreen</PresentationFormat>
  <Paragraphs>4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lman Kadhi</dc:creator>
  <cp:lastModifiedBy>Hassan Ibrahim</cp:lastModifiedBy>
  <cp:revision>44</cp:revision>
  <dcterms:created xsi:type="dcterms:W3CDTF">2021-06-14T12:59:12Z</dcterms:created>
  <dcterms:modified xsi:type="dcterms:W3CDTF">2025-04-03T12:44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a1c3d61-d25e-4220-be73-e1cfaa29bdb8_Enabled">
    <vt:lpwstr>true</vt:lpwstr>
  </property>
  <property fmtid="{D5CDD505-2E9C-101B-9397-08002B2CF9AE}" pid="3" name="MSIP_Label_ba1c3d61-d25e-4220-be73-e1cfaa29bdb8_SetDate">
    <vt:lpwstr>2025-04-01T19:06:13Z</vt:lpwstr>
  </property>
  <property fmtid="{D5CDD505-2E9C-101B-9397-08002B2CF9AE}" pid="4" name="MSIP_Label_ba1c3d61-d25e-4220-be73-e1cfaa29bdb8_Method">
    <vt:lpwstr>Standard</vt:lpwstr>
  </property>
  <property fmtid="{D5CDD505-2E9C-101B-9397-08002B2CF9AE}" pid="5" name="MSIP_Label_ba1c3d61-d25e-4220-be73-e1cfaa29bdb8_Name">
    <vt:lpwstr>ba1c3d61-d25e-4220-be73-e1cfaa29bdb8</vt:lpwstr>
  </property>
  <property fmtid="{D5CDD505-2E9C-101B-9397-08002B2CF9AE}" pid="6" name="MSIP_Label_ba1c3d61-d25e-4220-be73-e1cfaa29bdb8_SiteId">
    <vt:lpwstr>75f5c750-9567-45b1-820b-cba711750bf8</vt:lpwstr>
  </property>
  <property fmtid="{D5CDD505-2E9C-101B-9397-08002B2CF9AE}" pid="7" name="MSIP_Label_ba1c3d61-d25e-4220-be73-e1cfaa29bdb8_ActionId">
    <vt:lpwstr>ab63b5fc-4581-4b9e-94a9-6b52275087a4</vt:lpwstr>
  </property>
  <property fmtid="{D5CDD505-2E9C-101B-9397-08002B2CF9AE}" pid="8" name="MSIP_Label_ba1c3d61-d25e-4220-be73-e1cfaa29bdb8_ContentBits">
    <vt:lpwstr>2</vt:lpwstr>
  </property>
  <property fmtid="{D5CDD505-2E9C-101B-9397-08002B2CF9AE}" pid="9" name="MSIP_Label_ba1c3d61-d25e-4220-be73-e1cfaa29bdb8_Tag">
    <vt:lpwstr>10, 3, 0, 1</vt:lpwstr>
  </property>
  <property fmtid="{D5CDD505-2E9C-101B-9397-08002B2CF9AE}" pid="10" name="ClassificationContentMarkingFooterLocations">
    <vt:lpwstr>Office Theme:9</vt:lpwstr>
  </property>
  <property fmtid="{D5CDD505-2E9C-101B-9397-08002B2CF9AE}" pid="11" name="ClassificationContentMarkingFooterText">
    <vt:lpwstr>Classified_Public</vt:lpwstr>
  </property>
</Properties>
</file>